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68" r:id="rId2"/>
  </p:sldIdLst>
  <p:sldSz cx="9906000" cy="6858000" type="A4"/>
  <p:notesSz cx="6735763" cy="986631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>
          <p15:clr>
            <a:srgbClr val="A4A3A4"/>
          </p15:clr>
        </p15:guide>
        <p15:guide id="2" pos="12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64C8"/>
    <a:srgbClr val="99D6EC"/>
    <a:srgbClr val="FF5A00"/>
    <a:srgbClr val="0098D0"/>
    <a:srgbClr val="B197D3"/>
    <a:srgbClr val="FFBE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259" autoAdjust="0"/>
    <p:restoredTop sz="94647" autoAdjust="0"/>
  </p:normalViewPr>
  <p:slideViewPr>
    <p:cSldViewPr>
      <p:cViewPr varScale="1">
        <p:scale>
          <a:sx n="69" d="100"/>
          <a:sy n="69" d="100"/>
        </p:scale>
        <p:origin x="306" y="72"/>
      </p:cViewPr>
      <p:guideLst>
        <p:guide orient="horz" pos="414"/>
        <p:guide pos="126"/>
      </p:guideLst>
    </p:cSldViewPr>
  </p:slideViewPr>
  <p:outlineViewPr>
    <p:cViewPr>
      <p:scale>
        <a:sx n="33" d="100"/>
        <a:sy n="33" d="100"/>
      </p:scale>
      <p:origin x="0" y="76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90" d="100"/>
          <a:sy n="90" d="100"/>
        </p:scale>
        <p:origin x="-2070" y="-72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___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340917612074103E-2"/>
          <c:y val="2.3131794130767474E-2"/>
          <c:w val="0.89864442127215849"/>
          <c:h val="0.87801778907242689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V$1</c:f>
              <c:numCache>
                <c:formatCode>General</c:formatCode>
                <c:ptCount val="2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  <c:pt idx="12">
                  <c:v>2031</c:v>
                </c:pt>
                <c:pt idx="13">
                  <c:v>2032</c:v>
                </c:pt>
                <c:pt idx="14">
                  <c:v>2033</c:v>
                </c:pt>
                <c:pt idx="15">
                  <c:v>2034</c:v>
                </c:pt>
                <c:pt idx="16">
                  <c:v>2035</c:v>
                </c:pt>
                <c:pt idx="17">
                  <c:v>2036</c:v>
                </c:pt>
                <c:pt idx="18">
                  <c:v>2037</c:v>
                </c:pt>
                <c:pt idx="19">
                  <c:v>2038</c:v>
                </c:pt>
                <c:pt idx="20">
                  <c:v>2039</c:v>
                </c:pt>
                <c:pt idx="21">
                  <c:v>2040</c:v>
                </c:pt>
              </c:numCache>
            </c:numRef>
          </c:xVal>
          <c:yVal>
            <c:numRef>
              <c:f>Sheet1!$A$2:$V$2</c:f>
              <c:numCache>
                <c:formatCode>General</c:formatCode>
                <c:ptCount val="22"/>
                <c:pt idx="0">
                  <c:v>2456.8000000000002</c:v>
                </c:pt>
                <c:pt idx="1">
                  <c:v>4913.6000000000004</c:v>
                </c:pt>
                <c:pt idx="2">
                  <c:v>7370.4000000000005</c:v>
                </c:pt>
                <c:pt idx="3">
                  <c:v>9827.2000000000007</c:v>
                </c:pt>
                <c:pt idx="4">
                  <c:v>12284</c:v>
                </c:pt>
                <c:pt idx="5">
                  <c:v>14740.800000000001</c:v>
                </c:pt>
                <c:pt idx="6">
                  <c:v>17197.600000000002</c:v>
                </c:pt>
                <c:pt idx="7">
                  <c:v>19654.400000000001</c:v>
                </c:pt>
                <c:pt idx="8">
                  <c:v>22111.200000000001</c:v>
                </c:pt>
                <c:pt idx="9">
                  <c:v>24568</c:v>
                </c:pt>
                <c:pt idx="10">
                  <c:v>27024.800000000003</c:v>
                </c:pt>
                <c:pt idx="11">
                  <c:v>29481.600000000002</c:v>
                </c:pt>
                <c:pt idx="12">
                  <c:v>32412.9</c:v>
                </c:pt>
                <c:pt idx="13">
                  <c:v>35344.200000000004</c:v>
                </c:pt>
                <c:pt idx="14">
                  <c:v>38275.5</c:v>
                </c:pt>
                <c:pt idx="15">
                  <c:v>41206.800000000003</c:v>
                </c:pt>
                <c:pt idx="16">
                  <c:v>44138.100000000006</c:v>
                </c:pt>
                <c:pt idx="17">
                  <c:v>47069.400000000009</c:v>
                </c:pt>
                <c:pt idx="18">
                  <c:v>50000.700000000004</c:v>
                </c:pt>
                <c:pt idx="19">
                  <c:v>52932</c:v>
                </c:pt>
                <c:pt idx="20">
                  <c:v>55863.3</c:v>
                </c:pt>
                <c:pt idx="21">
                  <c:v>58794.60000000000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349-4A36-B249-D8B71D745D0E}"/>
            </c:ext>
          </c:extLst>
        </c:ser>
        <c:ser>
          <c:idx val="1"/>
          <c:order val="1"/>
          <c:spPr>
            <a:ln w="1905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xVal>
            <c:numRef>
              <c:f>Sheet1!$A$1:$V$1</c:f>
              <c:numCache>
                <c:formatCode>General</c:formatCode>
                <c:ptCount val="22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  <c:pt idx="8">
                  <c:v>2027</c:v>
                </c:pt>
                <c:pt idx="9">
                  <c:v>2028</c:v>
                </c:pt>
                <c:pt idx="10">
                  <c:v>2029</c:v>
                </c:pt>
                <c:pt idx="11">
                  <c:v>2030</c:v>
                </c:pt>
                <c:pt idx="12">
                  <c:v>2031</c:v>
                </c:pt>
                <c:pt idx="13">
                  <c:v>2032</c:v>
                </c:pt>
                <c:pt idx="14">
                  <c:v>2033</c:v>
                </c:pt>
                <c:pt idx="15">
                  <c:v>2034</c:v>
                </c:pt>
                <c:pt idx="16">
                  <c:v>2035</c:v>
                </c:pt>
                <c:pt idx="17">
                  <c:v>2036</c:v>
                </c:pt>
                <c:pt idx="18">
                  <c:v>2037</c:v>
                </c:pt>
                <c:pt idx="19">
                  <c:v>2038</c:v>
                </c:pt>
                <c:pt idx="20">
                  <c:v>2039</c:v>
                </c:pt>
                <c:pt idx="21">
                  <c:v>2040</c:v>
                </c:pt>
              </c:numCache>
            </c:numRef>
          </c:xVal>
          <c:yVal>
            <c:numRef>
              <c:f>Sheet1!$A$3:$V$3</c:f>
              <c:numCache>
                <c:formatCode>General</c:formatCode>
                <c:ptCount val="22"/>
                <c:pt idx="0">
                  <c:v>2697.5</c:v>
                </c:pt>
                <c:pt idx="1">
                  <c:v>5395</c:v>
                </c:pt>
                <c:pt idx="2">
                  <c:v>8092.5</c:v>
                </c:pt>
                <c:pt idx="3">
                  <c:v>10790</c:v>
                </c:pt>
                <c:pt idx="4">
                  <c:v>13487.5</c:v>
                </c:pt>
                <c:pt idx="5">
                  <c:v>16185</c:v>
                </c:pt>
                <c:pt idx="6">
                  <c:v>18882.5</c:v>
                </c:pt>
                <c:pt idx="7">
                  <c:v>21580</c:v>
                </c:pt>
                <c:pt idx="8">
                  <c:v>24277.5</c:v>
                </c:pt>
                <c:pt idx="9">
                  <c:v>26975</c:v>
                </c:pt>
                <c:pt idx="10">
                  <c:v>29672.5</c:v>
                </c:pt>
                <c:pt idx="11">
                  <c:v>32370</c:v>
                </c:pt>
                <c:pt idx="12">
                  <c:v>36265.9</c:v>
                </c:pt>
                <c:pt idx="13">
                  <c:v>40161.800000000003</c:v>
                </c:pt>
                <c:pt idx="14">
                  <c:v>44057.7</c:v>
                </c:pt>
                <c:pt idx="15">
                  <c:v>47953.599999999999</c:v>
                </c:pt>
                <c:pt idx="16">
                  <c:v>51849.5</c:v>
                </c:pt>
                <c:pt idx="17">
                  <c:v>55745.4</c:v>
                </c:pt>
                <c:pt idx="18">
                  <c:v>59641.3</c:v>
                </c:pt>
                <c:pt idx="19">
                  <c:v>63537.2</c:v>
                </c:pt>
                <c:pt idx="20">
                  <c:v>67433.100000000006</c:v>
                </c:pt>
                <c:pt idx="21">
                  <c:v>7132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349-4A36-B249-D8B71D745D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47330936"/>
        <c:axId val="1047327016"/>
      </c:scatterChart>
      <c:valAx>
        <c:axId val="1047330936"/>
        <c:scaling>
          <c:orientation val="minMax"/>
          <c:max val="2040"/>
          <c:min val="2018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chemeClr val="tx1"/>
                </a:solidFill>
                <a:latin typeface="Meiryo UI"/>
                <a:ea typeface="Meiryo UI"/>
                <a:cs typeface="Meiryo UI"/>
                <a:sym typeface="Meiryo UI"/>
              </a:defRPr>
            </a:pPr>
            <a:endParaRPr lang="ja-JP"/>
          </a:p>
        </c:txPr>
        <c:crossAx val="1047327016"/>
        <c:crosses val="min"/>
        <c:crossBetween val="midCat"/>
        <c:majorUnit val="2"/>
      </c:valAx>
      <c:valAx>
        <c:axId val="1047327016"/>
        <c:scaling>
          <c:orientation val="minMax"/>
          <c:max val="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>
                <a:latin typeface="Meiryo UI"/>
                <a:ea typeface="Meiryo UI"/>
                <a:cs typeface="Meiryo UI"/>
                <a:sym typeface="Meiryo UI"/>
              </a:defRPr>
            </a:pPr>
            <a:endParaRPr lang="ja-JP"/>
          </a:p>
        </c:txPr>
        <c:crossAx val="1047330936"/>
        <c:crosses val="min"/>
        <c:crossBetween val="midCat"/>
        <c:majorUnit val="10000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377" y="2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kumimoji="1" lang="ja-JP" altLang="en-US" sz="1400" dirty="0" smtClean="0">
                <a:latin typeface="ＭＳ Ｐゴシック" pitchFamily="50" charset="-128"/>
                <a:ea typeface="ＭＳ Ｐゴシック" pitchFamily="50" charset="-128"/>
              </a:rPr>
              <a:t>機密性○</a:t>
            </a:r>
            <a:endParaRPr kumimoji="1" lang="ja-JP" altLang="en-US" sz="1400" dirty="0">
              <a:latin typeface="ＭＳ Ｐゴシック" pitchFamily="50" charset="-128"/>
              <a:ea typeface="ＭＳ Ｐゴシック" pitchFamily="50" charset="-128"/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4" y="9371287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377" y="9371287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0C1D9C-4153-45A3-ABA8-5AC906D324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6108798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7" y="2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400">
                <a:latin typeface="ＭＳ Ｐゴシック" pitchFamily="50" charset="-128"/>
                <a:ea typeface="ＭＳ Ｐゴシック" pitchFamily="50" charset="-128"/>
              </a:defRPr>
            </a:lvl1pPr>
          </a:lstStyle>
          <a:p>
            <a:r>
              <a:rPr lang="ja-JP" altLang="en-US" dirty="0" smtClean="0"/>
              <a:t>機密性○</a:t>
            </a:r>
            <a:endParaRPr lang="en-US" altLang="ja-JP" dirty="0" smtClean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501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4" y="9371287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7" y="9371287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5E722-DCEB-4B9B-850A-0990A504E40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92693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588439"/>
            <a:ext cx="8420100" cy="55399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ctr">
              <a:defRPr lang="ja-JP" altLang="en-US" sz="3600" b="1" dirty="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/>
            <a:r>
              <a:rPr kumimoji="1" lang="ja-JP" altLang="en-US" smtClean="0"/>
              <a:t>マスター タイトルの書式設定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4653136"/>
            <a:ext cx="6934200" cy="125572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ja-JP" altLang="en-US" sz="24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 algn="ctr"/>
            <a:r>
              <a:rPr kumimoji="1" lang="ja-JP" altLang="en-US" smtClean="0"/>
              <a:t>マスター サブタイトルの書式設定</a:t>
            </a:r>
            <a:endParaRPr kumimoji="1" lang="ja-JP" altLang="en-US" dirty="0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38EED-0542-4C86-A18B-4CD095A08138}" type="datetime1">
              <a:rPr kumimoji="1" lang="ja-JP" altLang="en-US" smtClean="0"/>
              <a:t>2020/4/7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80666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1393439" y="1520788"/>
            <a:ext cx="7423989" cy="646331"/>
          </a:xfrm>
        </p:spPr>
        <p:txBody>
          <a:bodyPr wrap="square" anchor="t" anchorCtr="0">
            <a:spAutoFit/>
          </a:bodyPr>
          <a:lstStyle>
            <a:lvl1pPr algn="l">
              <a:defRPr lang="ja-JP" altLang="en-US" sz="36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 smtClean="0"/>
              <a:t>１．見出しの記入</a:t>
            </a:r>
            <a:endParaRPr kumimoji="1" lang="ja-JP" altLang="en-US" dirty="0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57FD6B-AACB-4FB5-A82B-515F0D3C0BFC}" type="datetime1">
              <a:rPr kumimoji="1" lang="ja-JP" altLang="en-US" smtClean="0"/>
              <a:t>2020/4/7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5992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8D6CFB-7E9F-4517-9C6C-7920C3455632}" type="datetime1">
              <a:rPr kumimoji="1" lang="ja-JP" altLang="en-US" smtClean="0"/>
              <a:t>2020/4/7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00471" y="188640"/>
            <a:ext cx="9505503" cy="461665"/>
          </a:xfrm>
        </p:spPr>
        <p:txBody>
          <a:bodyPr wrap="square">
            <a:spAutoFit/>
          </a:bodyPr>
          <a:lstStyle>
            <a:lvl1pPr algn="l">
              <a:defRPr lang="ja-JP" altLang="en-US" sz="2400" b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smtClean="0"/>
              <a:t>マスター タイトルの書式設定</a:t>
            </a:r>
            <a:endParaRPr kumimoji="1" lang="ja-JP" altLang="en-US" dirty="0"/>
          </a:p>
        </p:txBody>
      </p:sp>
      <p:sp>
        <p:nvSpPr>
          <p:cNvPr id="8" name="テキスト プレースホルダー 9"/>
          <p:cNvSpPr>
            <a:spLocks noGrp="1"/>
          </p:cNvSpPr>
          <p:nvPr>
            <p:ph type="body" sz="quarter" idx="13" hasCustomPrompt="1"/>
          </p:nvPr>
        </p:nvSpPr>
        <p:spPr>
          <a:xfrm>
            <a:off x="200794" y="6309320"/>
            <a:ext cx="9396722" cy="16158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（資料）●●</a:t>
            </a:r>
            <a:endParaRPr kumimoji="1" lang="ja-JP" altLang="en-US" dirty="0"/>
          </a:p>
        </p:txBody>
      </p:sp>
      <p:sp>
        <p:nvSpPr>
          <p:cNvPr id="9" name="テキスト プレースホルダー 9"/>
          <p:cNvSpPr>
            <a:spLocks noGrp="1"/>
          </p:cNvSpPr>
          <p:nvPr>
            <p:ph type="body" sz="quarter" idx="14" hasCustomPrompt="1"/>
          </p:nvPr>
        </p:nvSpPr>
        <p:spPr>
          <a:xfrm>
            <a:off x="200794" y="3104964"/>
            <a:ext cx="1853071" cy="307777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説明文（</a:t>
            </a:r>
            <a:r>
              <a:rPr kumimoji="1" lang="en-US" altLang="ja-JP" dirty="0" smtClean="0"/>
              <a:t>20pt</a:t>
            </a:r>
            <a:r>
              <a:rPr kumimoji="1"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200472" y="3769295"/>
            <a:ext cx="1298432" cy="215444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説明文（</a:t>
            </a:r>
            <a:r>
              <a:rPr kumimoji="1" lang="en-US" altLang="ja-JP" dirty="0" smtClean="0"/>
              <a:t>14pt</a:t>
            </a:r>
            <a:r>
              <a:rPr kumimoji="1"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11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200472" y="4365104"/>
            <a:ext cx="1102866" cy="161583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説明文（</a:t>
            </a:r>
            <a:r>
              <a:rPr kumimoji="1" lang="en-US" altLang="ja-JP" dirty="0" smtClean="0"/>
              <a:t>10.5pt</a:t>
            </a:r>
            <a:r>
              <a:rPr kumimoji="1"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7"/>
          </p:nvPr>
        </p:nvSpPr>
        <p:spPr>
          <a:xfrm>
            <a:off x="200025" y="764704"/>
            <a:ext cx="9505950" cy="525886"/>
          </a:xfrm>
          <a:solidFill>
            <a:srgbClr val="99D6EC"/>
          </a:solidFill>
          <a:ln>
            <a:noFill/>
          </a:ln>
        </p:spPr>
        <p:txBody>
          <a:bodyPr vert="horz" wrap="square" lIns="216000" tIns="108000" rIns="216000" bIns="108000" rtlCol="0" anchor="t" anchorCtr="0">
            <a:spAutoFit/>
          </a:bodyPr>
          <a:lstStyle>
            <a:lvl1pPr>
              <a:defRPr lang="ja-JP" altLang="en-US" sz="2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257175" lvl="0" indent="-257175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989527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200025" y="274638"/>
            <a:ext cx="9469499" cy="382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 dirty="0" smtClean="0"/>
              <a:t>マスター タイトルの書式設定</a:t>
            </a:r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200024" y="800708"/>
            <a:ext cx="9469499" cy="1210689"/>
          </a:xfrm>
          <a:prstGeom prst="rect">
            <a:avLst/>
          </a:prstGeom>
          <a:noFill/>
        </p:spPr>
        <p:txBody>
          <a:bodyPr vert="horz" wrap="square" lIns="216000" tIns="108000" rIns="216000" bIns="108000" rtlCol="0">
            <a:spAutoFit/>
          </a:bodyPr>
          <a:lstStyle/>
          <a:p>
            <a:pPr lvl="0"/>
            <a:r>
              <a:rPr kumimoji="1" lang="ja-JP" altLang="en-US" dirty="0" smtClean="0"/>
              <a:t>マスター テキストの書式設定</a:t>
            </a:r>
          </a:p>
          <a:p>
            <a:pPr lvl="1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2 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3 </a:t>
            </a:r>
            <a:r>
              <a:rPr kumimoji="1" lang="ja-JP" altLang="en-US" dirty="0" smtClean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-10695" y="652026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57702473-496F-4EA5-8617-C076904D98E0}" type="datetime1">
              <a:rPr lang="ja-JP" altLang="en-US" smtClean="0"/>
              <a:t>2020/4/7</a:t>
            </a:fld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392827" y="652534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7605295" y="652534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D9550142-B990-490A-A107-ED7302A7FD52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1257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1" r:id="rId2"/>
    <p:sldLayoutId id="214748365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4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</p:titleStyle>
    <p:bodyStyle>
      <a:lvl1pPr marL="342900" indent="-342900" algn="l" defTabSz="914400" rtl="0" eaLnBrk="1" latinLnBrk="0" hangingPunct="1">
        <a:spcBef>
          <a:spcPts val="600"/>
        </a:spcBef>
        <a:spcAft>
          <a:spcPts val="600"/>
        </a:spcAft>
        <a:buClr>
          <a:srgbClr val="002060"/>
        </a:buClr>
        <a:buFont typeface="Wingdings" panose="05000000000000000000" pitchFamily="2" charset="2"/>
        <a:buChar char="l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742950" indent="-28575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–"/>
        <a:defRPr kumimoji="1" sz="1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1143000" indent="-22860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kumimoji="1" sz="105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703093"/>
              </p:ext>
            </p:extLst>
          </p:nvPr>
        </p:nvGraphicFramePr>
        <p:xfrm>
          <a:off x="992560" y="1340768"/>
          <a:ext cx="7612062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689744" y="3759597"/>
            <a:ext cx="5064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kumimoji="1" sz="105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3F0F73A-EDC2-434F-8524-D2C40C8E8D92}" type="datetime'''''''''2,''0''''''0''''''''''''''''''''''0'''''''''''''">
              <a:rPr lang="ja-JP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,000</a:t>
            </a:fld>
            <a:endParaRPr kumimoji="0" lang="ja-JP" altLang="en-US" sz="1400" dirty="0" smtClean="0">
              <a:sym typeface="Meiryo UI" panose="020B0604030504040204" pitchFamily="50" charset="-128"/>
            </a:endParaRPr>
          </a:p>
        </p:txBody>
      </p:sp>
      <p:sp>
        <p:nvSpPr>
          <p:cNvPr id="4" name="テキスト プレースホルダー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85032" y="4581922"/>
            <a:ext cx="1111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kumimoji="1" sz="105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C95AA7-6591-43FA-A7C7-7A1D46C34DD7}" type="datetime'''''''0'''''''''''''''''''">
              <a:rPr lang="ja-JP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kumimoji="0" lang="ja-JP" altLang="en-US" sz="1400" dirty="0" smtClean="0">
              <a:sym typeface="Meiryo UI" panose="020B0604030504040204" pitchFamily="50" charset="-128"/>
            </a:endParaRPr>
          </a:p>
        </p:txBody>
      </p:sp>
      <p:sp>
        <p:nvSpPr>
          <p:cNvPr id="5" name="テキスト プレースホルダー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89744" y="4170760"/>
            <a:ext cx="5064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kumimoji="1" sz="105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1D63BAF-4F07-4B3C-BE6C-F8D5B863821B}" type="datetime'''''''''1'',''''''''''''''''00''''0'''''''''''''''''''">
              <a:rPr lang="ja-JP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kumimoji="0" lang="ja-JP" altLang="en-US" sz="1400" dirty="0" smtClean="0">
              <a:sym typeface="Meiryo UI" panose="020B0604030504040204" pitchFamily="50" charset="-128"/>
            </a:endParaRPr>
          </a:p>
        </p:txBody>
      </p:sp>
      <p:sp>
        <p:nvSpPr>
          <p:cNvPr id="6" name="テキスト プレースホルダー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89744" y="3348435"/>
            <a:ext cx="5064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kumimoji="1" sz="105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4489434-576D-42AE-86C7-46118B10B5AD}" type="datetime'''''3'''',''0''0''''''''''0'''''''''''''">
              <a:rPr lang="ja-JP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,000</a:t>
            </a:fld>
            <a:endParaRPr kumimoji="0" lang="ja-JP" altLang="en-US" sz="1400" dirty="0" smtClean="0">
              <a:sym typeface="Meiryo UI" panose="020B0604030504040204" pitchFamily="50" charset="-128"/>
            </a:endParaRPr>
          </a:p>
        </p:txBody>
      </p:sp>
      <p:sp>
        <p:nvSpPr>
          <p:cNvPr id="7" name="テキスト プレースホルダー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89744" y="1702197"/>
            <a:ext cx="5064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kumimoji="1" sz="105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5DA0038-9BA1-46C3-89C8-0B8081DF10D6}" type="datetime'''''''''''7'''',''''0''''''''0''''''''''''''0'''''''''''''''">
              <a:rPr lang="ja-JP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,000</a:t>
            </a:fld>
            <a:endParaRPr kumimoji="0" lang="ja-JP" altLang="en-US" sz="1400" dirty="0" smtClean="0">
              <a:sym typeface="Meiryo UI" panose="020B0604030504040204" pitchFamily="50" charset="-128"/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89744" y="2937272"/>
            <a:ext cx="5064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kumimoji="1" sz="105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DB4909A-9D0D-4EC8-B6EE-E70FFA5C5DB9}" type="datetime'''''''''''''''''''''''''''4'',''''0''''0''0'''">
              <a:rPr lang="ja-JP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,000</a:t>
            </a:fld>
            <a:endParaRPr kumimoji="0" lang="ja-JP" altLang="en-US" sz="1400" dirty="0" smtClean="0">
              <a:sym typeface="Meiryo UI" panose="020B0604030504040204" pitchFamily="50" charset="-128"/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89744" y="2524522"/>
            <a:ext cx="5064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kumimoji="1" sz="105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F3C6E8B-D973-4991-80FF-B25B109B7EFC}" type="datetime'''''5'''''',''''''''0''''0''''''''0'''''''''''">
              <a:rPr lang="ja-JP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,000</a:t>
            </a:fld>
            <a:endParaRPr kumimoji="0" lang="ja-JP" altLang="en-US" sz="1400" dirty="0" smtClean="0">
              <a:sym typeface="Meiryo UI" panose="020B0604030504040204" pitchFamily="50" charset="-128"/>
            </a:endParaRPr>
          </a:p>
        </p:txBody>
      </p:sp>
      <p:sp>
        <p:nvSpPr>
          <p:cNvPr id="10" name="テキスト プレースホルダー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89744" y="2113360"/>
            <a:ext cx="5064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kumimoji="1" sz="105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609231-EA12-46DF-B3D2-1BCD6F1B94B9}" type="datetime'''''''''''''''6'''',''0''''00'''''''''''''''''''''''''''''''">
              <a:rPr lang="ja-JP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,000</a:t>
            </a:fld>
            <a:endParaRPr kumimoji="0" lang="ja-JP" altLang="en-US" sz="1400" dirty="0" smtClean="0">
              <a:sym typeface="Meiryo UI" panose="020B0604030504040204" pitchFamily="50" charset="-128"/>
            </a:endParaRPr>
          </a:p>
        </p:txBody>
      </p:sp>
      <p:sp>
        <p:nvSpPr>
          <p:cNvPr id="11" name="テキスト プレースホルダー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9744" y="1291035"/>
            <a:ext cx="50641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kumimoji="1" sz="105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6ECC5A6-10E3-491E-AD1F-FAE97B9B14AD}" type="datetime'''''''''''''''''''''8'''''''''',''''''0''''0''''''''''''''0'">
              <a:rPr lang="ja-JP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,000</a:t>
            </a:fld>
            <a:endParaRPr kumimoji="0" lang="ja-JP" altLang="en-US" sz="1400" dirty="0" smtClean="0">
              <a:sym typeface="Meiryo UI" panose="020B0604030504040204" pitchFamily="50" charset="-128"/>
            </a:endParaRPr>
          </a:p>
        </p:txBody>
      </p:sp>
      <p:sp>
        <p:nvSpPr>
          <p:cNvPr id="12" name="テキスト プレースホルダー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355782" y="2162572"/>
            <a:ext cx="3317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kumimoji="1" sz="105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47F5E63-DBC2-49AA-960D-BF54AD0934FA}" type="datetime'''''''''''''S''''''''''''''''''''P''S''''''''''''''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PS</a:t>
            </a:fld>
            <a:endParaRPr kumimoji="0" lang="ja-JP" altLang="en-US" sz="1400" dirty="0" smtClean="0">
              <a:sym typeface="Meiryo UI" panose="020B0604030504040204" pitchFamily="50" charset="-128"/>
            </a:endParaRPr>
          </a:p>
        </p:txBody>
      </p:sp>
      <p:sp>
        <p:nvSpPr>
          <p:cNvPr id="13" name="テキスト プレースホルダー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355782" y="1648222"/>
            <a:ext cx="3587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742950" indent="-28575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–"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 marL="1143000" indent="-228600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kumimoji="1" sz="105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kumimoji="1" sz="20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89350A-7079-4C96-9557-98FD97E9A373}" type="datetime'''''''''''''''''''''''''''''SD''''''''''''''''S'''''''''''">
              <a:rPr lang="en-US" altLang="en-US" sz="1400" smtClean="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DS</a:t>
            </a:fld>
            <a:endParaRPr kumimoji="0" lang="ja-JP" altLang="en-US" sz="1400" dirty="0" smtClean="0">
              <a:sym typeface="Meiryo UI" panose="020B0604030504040204" pitchFamily="50" charset="-128"/>
            </a:endParaRPr>
          </a:p>
        </p:txBody>
      </p:sp>
      <p:sp>
        <p:nvSpPr>
          <p:cNvPr id="14" name="テキスト ボックス 13"/>
          <p:cNvSpPr txBox="1"/>
          <p:nvPr/>
        </p:nvSpPr>
        <p:spPr>
          <a:xfrm>
            <a:off x="590563" y="1023859"/>
            <a:ext cx="792088" cy="26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[</a:t>
            </a:r>
            <a:r>
              <a:rPr lang="ja-JP" altLang="en-US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兆</a:t>
            </a:r>
            <a:r>
              <a:rPr kumimoji="1" lang="ja-JP" altLang="en-US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円</a:t>
            </a:r>
            <a:r>
              <a:rPr kumimoji="1" lang="en-US" altLang="ja-JP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]</a:t>
            </a:r>
            <a:endParaRPr kumimoji="1" lang="ja-JP" altLang="en-US" sz="11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5" name="テキスト ボックス 14"/>
          <p:cNvSpPr txBox="1"/>
          <p:nvPr/>
        </p:nvSpPr>
        <p:spPr>
          <a:xfrm>
            <a:off x="1503778" y="1397922"/>
            <a:ext cx="625753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PS</a:t>
            </a:r>
            <a:r>
              <a:rPr lang="ja-JP" altLang="en-US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：</a:t>
            </a:r>
            <a:r>
              <a:rPr lang="en-US" altLang="ja-JP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tated</a:t>
            </a:r>
            <a:r>
              <a:rPr lang="ja-JP" altLang="en-US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 </a:t>
            </a:r>
            <a:r>
              <a:rPr lang="en-US" altLang="ja-JP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Policy Scenario</a:t>
            </a:r>
            <a:r>
              <a:rPr lang="ja-JP" altLang="en-US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公表政策シナリオ）</a:t>
            </a:r>
            <a:endParaRPr lang="en-US" altLang="ja-JP" sz="11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r>
              <a:rPr kumimoji="1" lang="en-US" altLang="ja-JP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DS</a:t>
            </a:r>
            <a:r>
              <a:rPr kumimoji="1" lang="ja-JP" altLang="en-US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：</a:t>
            </a:r>
            <a:r>
              <a:rPr lang="en-US" altLang="ja-JP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us</a:t>
            </a:r>
            <a:r>
              <a:rPr lang="en-US" altLang="ja-JP" sz="11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tainable Development </a:t>
            </a:r>
            <a:r>
              <a:rPr lang="en-US" altLang="ja-JP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Scenario</a:t>
            </a:r>
            <a:r>
              <a:rPr lang="ja-JP" altLang="en-US" sz="11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持続可能な開発シナリオ）</a:t>
            </a:r>
            <a:endParaRPr kumimoji="1" lang="ja-JP" altLang="en-US" sz="11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6" name="テキスト ボックス 15"/>
          <p:cNvSpPr txBox="1"/>
          <p:nvPr/>
        </p:nvSpPr>
        <p:spPr>
          <a:xfrm>
            <a:off x="-231575" y="5318431"/>
            <a:ext cx="93610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＜</a:t>
            </a:r>
            <a:r>
              <a:rPr lang="ja-JP" altLang="en-US" sz="10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出典</a:t>
            </a:r>
            <a:r>
              <a:rPr lang="ja-JP" altLang="en-US" sz="1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＞</a:t>
            </a:r>
            <a:r>
              <a:rPr kumimoji="1" lang="en-US" altLang="ja-JP" sz="10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World Energy Outlook 2019</a:t>
            </a:r>
            <a:endParaRPr kumimoji="1" lang="ja-JP" altLang="en-US" sz="1000" dirty="0" smtClean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7" name="テキスト ボックス 16"/>
          <p:cNvSpPr txBox="1"/>
          <p:nvPr/>
        </p:nvSpPr>
        <p:spPr>
          <a:xfrm>
            <a:off x="6764158" y="4375281"/>
            <a:ext cx="263778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9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※1</a:t>
            </a:r>
            <a:r>
              <a:rPr kumimoji="1" lang="ja-JP" altLang="en-US" sz="9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ドル＝</a:t>
            </a:r>
            <a:r>
              <a:rPr kumimoji="1" lang="en-US" altLang="ja-JP" sz="9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10.17</a:t>
            </a:r>
            <a:r>
              <a:rPr kumimoji="1" lang="ja-JP" altLang="en-US" sz="9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円（</a:t>
            </a:r>
            <a:r>
              <a:rPr kumimoji="1" lang="en-US" altLang="ja-JP" sz="9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</a:t>
            </a:r>
            <a:r>
              <a:rPr kumimoji="1" lang="ja-JP" altLang="en-US" sz="9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月</a:t>
            </a:r>
            <a:r>
              <a:rPr kumimoji="1" lang="en-US" altLang="ja-JP" sz="9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21</a:t>
            </a:r>
            <a:r>
              <a:rPr kumimoji="1" lang="ja-JP" altLang="en-US" sz="900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日時点）で計算</a:t>
            </a:r>
          </a:p>
        </p:txBody>
      </p:sp>
    </p:spTree>
    <p:extLst>
      <p:ext uri="{BB962C8B-B14F-4D97-AF65-F5344CB8AC3E}">
        <p14:creationId xmlns:p14="http://schemas.microsoft.com/office/powerpoint/2010/main" val="560730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N0jDwRFDfntn5BEj_0R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f7j98bK17jR.GEZf.b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RijA8DPNQLcS7hLCm8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rxxb5woDhdt.QLK0ga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GH0bVurRTjLU6lsENl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E8cXVBP9z57jQyZs58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x.XQbKrbeYOsJa9zPv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Lr5sZaGNwyQNFcVY4Z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AAJ3xpOIS3mhZUDoLi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m.8A4mYpw9k82iihjI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.8Fl3lox6EwA6DZZSn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vJzpyHlZBmjr9iiGljtg"/>
</p:tagLst>
</file>

<file path=ppt/theme/theme1.xml><?xml version="1.0" encoding="utf-8"?>
<a:theme xmlns:a="http://schemas.openxmlformats.org/drawingml/2006/main" name="【機○・記載例なし】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>
          <a:solidFill>
            <a:srgbClr val="B2B2B2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rtlCol="0" anchor="ctr"/>
      <a:lstStyle>
        <a:defPPr algn="l">
          <a:defRPr kumimoji="0" sz="1800" dirty="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kumimoji="1" dirty="0" smtClean="0">
            <a:latin typeface="Meiryo UI" panose="020B0604030504040204" pitchFamily="50" charset="-128"/>
            <a:ea typeface="Meiryo UI" panose="020B0604030504040204" pitchFamily="50" charset="-128"/>
            <a:cs typeface="Meiryo UI" panose="020B0604030504040204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EEFAC4F8-5372-4F77-B6EB-292543FDB11B}" vid="{F3909443-3E9A-4DD8-A95D-A134317FA3B2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9</Words>
  <Application>Microsoft Office PowerPoint</Application>
  <PresentationFormat>A4 210 x 297 mm</PresentationFormat>
  <Paragraphs>16</Paragraphs>
  <Slides>1</Slides>
  <Notes>0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7" baseType="lpstr">
      <vt:lpstr>Meiryo UI</vt:lpstr>
      <vt:lpstr>ＭＳ Ｐゴシック</vt:lpstr>
      <vt:lpstr>Arial</vt:lpstr>
      <vt:lpstr>Calibri</vt:lpstr>
      <vt:lpstr>Wingdings</vt:lpstr>
      <vt:lpstr>【機○・記載例なし】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1-01T10:33:20Z</dcterms:created>
  <dcterms:modified xsi:type="dcterms:W3CDTF">2020-04-07T08:05:39Z</dcterms:modified>
</cp:coreProperties>
</file>